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601" r:id="rId1"/>
    <p:sldMasterId id="2147486631" r:id="rId2"/>
  </p:sldMasterIdLst>
  <p:notesMasterIdLst>
    <p:notesMasterId r:id="rId8"/>
  </p:notesMasterIdLst>
  <p:handoutMasterIdLst>
    <p:handoutMasterId r:id="rId9"/>
  </p:handoutMasterIdLst>
  <p:sldIdLst>
    <p:sldId id="2680" r:id="rId3"/>
    <p:sldId id="2679" r:id="rId4"/>
    <p:sldId id="2678" r:id="rId5"/>
    <p:sldId id="2650" r:id="rId6"/>
    <p:sldId id="2677" r:id="rId7"/>
  </p:sldIdLst>
  <p:sldSz cx="9144000" cy="6858000" type="screen4x3"/>
  <p:notesSz cx="6797675" cy="9928225"/>
  <p:custDataLst>
    <p:tags r:id="rId1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395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951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505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19023" indent="31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7773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3328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88823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44370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224_5" initials="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002960"/>
    <a:srgbClr val="EDF0FA"/>
    <a:srgbClr val="D9DFF6"/>
    <a:srgbClr val="92F884"/>
    <a:srgbClr val="073670"/>
    <a:srgbClr val="383838"/>
    <a:srgbClr val="000000"/>
    <a:srgbClr val="5E5E5E"/>
    <a:srgbClr val="B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4" autoAdjust="0"/>
    <p:restoredTop sz="92005" autoAdjust="0"/>
  </p:normalViewPr>
  <p:slideViewPr>
    <p:cSldViewPr snapToGrid="0">
      <p:cViewPr varScale="1">
        <p:scale>
          <a:sx n="103" d="100"/>
          <a:sy n="103" d="100"/>
        </p:scale>
        <p:origin x="1680" y="90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Relationship Id="rId118" Type="http://schemas.microsoft.com/office/2015/10/relationships/revisionInfo" Target="revisionInfo.xm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8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8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9212938-B8CB-463C-85F4-BB92DD38CA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60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8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7940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9" y="4719638"/>
            <a:ext cx="5437187" cy="44640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12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12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8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C805CD5-6701-4AD0-8A77-B74A6C7D3B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9445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0951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505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1902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5434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0526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5605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0693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797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8580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993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145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B321158C-280E-4753-8E6F-1F6B80C8FAD6}" type="slidenum">
              <a:rPr lang="ru-RU" sz="1200">
                <a:solidFill>
                  <a:srgbClr val="000000"/>
                </a:solidFill>
                <a:cs typeface="Arial" charset="0"/>
              </a:rPr>
              <a:pPr algn="r" eaLnBrk="1" hangingPunct="1"/>
              <a:t>5</a:t>
            </a:fld>
            <a:endParaRPr lang="ru-RU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615831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6399" y="2130939"/>
            <a:ext cx="7771211" cy="29832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395" y="3886705"/>
            <a:ext cx="6401219" cy="446276"/>
          </a:xfrm>
        </p:spPr>
        <p:txBody>
          <a:bodyPr/>
          <a:lstStyle>
            <a:lvl1pPr marL="0" indent="0" algn="ctr">
              <a:buNone/>
              <a:defRPr/>
            </a:lvl1pPr>
            <a:lvl2pPr marL="413900" indent="0" algn="ctr">
              <a:buNone/>
              <a:defRPr/>
            </a:lvl2pPr>
            <a:lvl3pPr marL="827800" indent="0" algn="ctr">
              <a:buNone/>
              <a:defRPr/>
            </a:lvl3pPr>
            <a:lvl4pPr marL="1241698" indent="0" algn="ctr">
              <a:buNone/>
              <a:defRPr/>
            </a:lvl4pPr>
            <a:lvl5pPr marL="1655596" indent="0" algn="ctr">
              <a:buNone/>
              <a:defRPr/>
            </a:lvl5pPr>
            <a:lvl6pPr marL="2069491" indent="0" algn="ctr">
              <a:buNone/>
              <a:defRPr/>
            </a:lvl6pPr>
            <a:lvl7pPr marL="2483392" indent="0" algn="ctr">
              <a:buNone/>
              <a:defRPr/>
            </a:lvl7pPr>
            <a:lvl8pPr marL="2897293" indent="0" algn="ctr">
              <a:buNone/>
              <a:defRPr/>
            </a:lvl8pPr>
            <a:lvl9pPr marL="3311191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43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41060" y="1298093"/>
            <a:ext cx="3477875" cy="178578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7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546" y="235604"/>
            <a:ext cx="292388" cy="236053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384897" y="235604"/>
            <a:ext cx="3200876" cy="236053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8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8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6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503" tIns="46256" rIns="92503" bIns="46256"/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rgbClr val="000000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11" tIns="51059" rIns="102111" bIns="51059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102179" tIns="51094" rIns="102179" bIns="51094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</a:rPr>
                <a:t>	Сноска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25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1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29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008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713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0252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883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96166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0555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2533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5394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2661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16990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1943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2888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25" y="235606"/>
            <a:ext cx="8791715" cy="3031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4420" y="1298072"/>
            <a:ext cx="8794511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391"/>
            <a:ext cx="1904932" cy="2769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5C62B9-F809-46EF-9BE2-23FEDA794B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2976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745" y="4407441"/>
            <a:ext cx="7772609" cy="553998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745" y="4124814"/>
            <a:ext cx="7772609" cy="282625"/>
          </a:xfrm>
        </p:spPr>
        <p:txBody>
          <a:bodyPr anchor="b"/>
          <a:lstStyle>
            <a:lvl1pPr marL="0" indent="0">
              <a:buNone/>
              <a:defRPr sz="1800"/>
            </a:lvl1pPr>
            <a:lvl2pPr marL="413900" indent="0">
              <a:buNone/>
              <a:defRPr sz="1600"/>
            </a:lvl2pPr>
            <a:lvl3pPr marL="827800" indent="0">
              <a:buNone/>
              <a:defRPr sz="1500"/>
            </a:lvl3pPr>
            <a:lvl4pPr marL="1241698" indent="0">
              <a:buNone/>
              <a:defRPr sz="1300"/>
            </a:lvl4pPr>
            <a:lvl5pPr marL="1655596" indent="0">
              <a:buNone/>
              <a:defRPr sz="1300"/>
            </a:lvl5pPr>
            <a:lvl6pPr marL="2069491" indent="0">
              <a:buNone/>
              <a:defRPr sz="1300"/>
            </a:lvl6pPr>
            <a:lvl7pPr marL="2483392" indent="0">
              <a:buNone/>
              <a:defRPr sz="1300"/>
            </a:lvl7pPr>
            <a:lvl8pPr marL="2897293" indent="0">
              <a:buNone/>
              <a:defRPr sz="1300"/>
            </a:lvl8pPr>
            <a:lvl9pPr marL="3311191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89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815" y="1298077"/>
            <a:ext cx="4329456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9495" y="1298077"/>
            <a:ext cx="4329455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97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5" y="274623"/>
            <a:ext cx="8229739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151" y="1825324"/>
            <a:ext cx="4040079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151" y="2174463"/>
            <a:ext cx="4040079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93" y="1825324"/>
            <a:ext cx="4041477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93" y="2174463"/>
            <a:ext cx="4041477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0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62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206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6" y="1152015"/>
            <a:ext cx="3008391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62" y="273141"/>
            <a:ext cx="5112308" cy="1742856"/>
          </a:xfrm>
        </p:spPr>
        <p:txBody>
          <a:bodyPr/>
          <a:lstStyle>
            <a:lvl1pPr>
              <a:defRPr sz="2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136" y="1434629"/>
            <a:ext cx="3008391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8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80" y="5085238"/>
            <a:ext cx="5486959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80" y="612268"/>
            <a:ext cx="5486959" cy="446276"/>
          </a:xfrm>
        </p:spPr>
        <p:txBody>
          <a:bodyPr/>
          <a:lstStyle>
            <a:lvl1pPr marL="0" indent="0">
              <a:buNone/>
              <a:defRPr sz="2900"/>
            </a:lvl1pPr>
            <a:lvl2pPr marL="413900" indent="0">
              <a:buNone/>
              <a:defRPr sz="2600"/>
            </a:lvl2pPr>
            <a:lvl3pPr marL="827800" indent="0">
              <a:buNone/>
              <a:defRPr sz="2200"/>
            </a:lvl3pPr>
            <a:lvl4pPr marL="1241698" indent="0">
              <a:buNone/>
              <a:defRPr sz="1800"/>
            </a:lvl4pPr>
            <a:lvl5pPr marL="1655596" indent="0">
              <a:buNone/>
              <a:defRPr sz="1800"/>
            </a:lvl5pPr>
            <a:lvl6pPr marL="2069491" indent="0">
              <a:buNone/>
              <a:defRPr sz="1800"/>
            </a:lvl6pPr>
            <a:lvl7pPr marL="2483392" indent="0">
              <a:buNone/>
              <a:defRPr sz="1800"/>
            </a:lvl7pPr>
            <a:lvl8pPr marL="2897293" indent="0">
              <a:buNone/>
              <a:defRPr sz="1800"/>
            </a:lvl8pPr>
            <a:lvl9pPr marL="3311191" indent="0">
              <a:buNone/>
              <a:defRPr sz="18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80" y="5367850"/>
            <a:ext cx="5486959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9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3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6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7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3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3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6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6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6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7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2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4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6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4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7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7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7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6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7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6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3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8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3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6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3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6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4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8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7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8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3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8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7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7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7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1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84095" tIns="42054" rIns="84095" bIns="4205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86" tIns="51096" rIns="102186" bIns="51096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6 h 164"/>
                <a:gd name="T4" fmla="*/ 1612 w 1612"/>
                <a:gd name="T5" fmla="*/ 156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891" tIns="46449" rIns="92891" bIns="46449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727" y="6661419"/>
            <a:ext cx="1904010" cy="18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89576AD-9E96-4D29-BD87-D7E1B0AE1714}" type="slidenum">
              <a:rPr lang="ru-RU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623" y="235624"/>
            <a:ext cx="8793114" cy="3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819" y="1298092"/>
            <a:ext cx="8793114" cy="174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</a:rPr>
                <a:t>	Сноска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1000" y="36044"/>
            <a:ext cx="66" cy="1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03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9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13" r:id="rId12"/>
    <p:sldLayoutId id="2147486614" r:id="rId13"/>
  </p:sldLayoutIdLst>
  <p:hf hdr="0" ftr="0" dt="0"/>
  <p:txStyles>
    <p:titleStyle>
      <a:lvl1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139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8278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241698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655596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7790" indent="-3477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148029" indent="-1465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600">
          <a:solidFill>
            <a:schemeClr val="tx1"/>
          </a:solidFill>
          <a:latin typeface="+mn-lt"/>
        </a:defRPr>
      </a:lvl2pPr>
      <a:lvl3pPr marL="300363" indent="-150901" algn="l" defTabSz="911149" rtl="0" eaLnBrk="1" fontAlgn="base" hangingPunct="1"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3pPr>
      <a:lvl4pPr marL="439769" indent="-136532" algn="l" defTabSz="911149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800">
          <a:solidFill>
            <a:schemeClr val="tx1"/>
          </a:solidFill>
          <a:latin typeface="+mn-lt"/>
        </a:defRPr>
      </a:lvl4pPr>
      <a:lvl5pPr marL="592112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800">
          <a:solidFill>
            <a:schemeClr val="tx1"/>
          </a:solidFill>
          <a:latin typeface="+mn-lt"/>
        </a:defRPr>
      </a:lvl5pPr>
      <a:lvl6pPr marL="1006005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6pPr>
      <a:lvl7pPr marL="1419904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7pPr>
      <a:lvl8pPr marL="1833798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8pPr>
      <a:lvl9pPr marL="2247700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39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78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1698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5596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694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3392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7293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1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66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  <p:sldLayoutId id="2147486702" r:id="rId12"/>
  </p:sldLayoutIdLst>
  <p:hf hdr="0" ftr="0" dt="0"/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0.xml"/><Relationship Id="rId7" Type="http://schemas.openxmlformats.org/officeDocument/2006/relationships/oleObject" Target="../embeddings/oleObject3.bin"/><Relationship Id="rId2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emf"/><Relationship Id="rId4" Type="http://schemas.openxmlformats.org/officeDocument/2006/relationships/tags" Target="../tags/tag51.xml"/><Relationship Id="rId9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3.xml"/><Relationship Id="rId7" Type="http://schemas.openxmlformats.org/officeDocument/2006/relationships/oleObject" Target="../embeddings/oleObject5.bin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85663" y="925491"/>
            <a:ext cx="8795215" cy="5867055"/>
          </a:xfrm>
        </p:spPr>
        <p:txBody>
          <a:bodyPr/>
          <a:lstStyle/>
          <a:p>
            <a:pPr marL="0" indent="0" algn="ctr" defTabSz="811483">
              <a:lnSpc>
                <a:spcPct val="90000"/>
              </a:lnSpc>
              <a:buNone/>
            </a:pPr>
            <a:r>
              <a:rPr lang="ru-RU" sz="3600" dirty="0" smtClean="0">
                <a:solidFill>
                  <a:srgbClr val="000099"/>
                </a:solidFill>
              </a:rPr>
              <a:t>О ПОДХОДАХ </a:t>
            </a:r>
          </a:p>
          <a:p>
            <a:pPr marL="0" indent="0" algn="ctr" defTabSz="811483">
              <a:lnSpc>
                <a:spcPct val="90000"/>
              </a:lnSpc>
              <a:buNone/>
            </a:pPr>
            <a:r>
              <a:rPr lang="ru-RU" sz="3600" dirty="0" smtClean="0">
                <a:solidFill>
                  <a:srgbClr val="000099"/>
                </a:solidFill>
              </a:rPr>
              <a:t>К МЕЖБЮДЖЕТНЫМ ОТНОШЕНИЯМ </a:t>
            </a:r>
          </a:p>
          <a:p>
            <a:pPr marL="0" indent="0" algn="ctr" defTabSz="811483">
              <a:lnSpc>
                <a:spcPct val="90000"/>
              </a:lnSpc>
              <a:buNone/>
            </a:pPr>
            <a:r>
              <a:rPr lang="ru-RU" sz="3600" dirty="0" smtClean="0">
                <a:solidFill>
                  <a:srgbClr val="000099"/>
                </a:solidFill>
              </a:rPr>
              <a:t>В ИРКУТСКОЙ ОБЛАСТИ </a:t>
            </a:r>
          </a:p>
          <a:p>
            <a:pPr marL="0" indent="0" algn="ctr" defTabSz="811483">
              <a:lnSpc>
                <a:spcPct val="90000"/>
              </a:lnSpc>
              <a:buNone/>
            </a:pPr>
            <a:r>
              <a:rPr lang="ru-RU" sz="3600" dirty="0" smtClean="0">
                <a:solidFill>
                  <a:srgbClr val="000099"/>
                </a:solidFill>
              </a:rPr>
              <a:t>В 2018 ГОДУ</a:t>
            </a:r>
            <a:endParaRPr lang="ru-RU" sz="3600" dirty="0">
              <a:solidFill>
                <a:srgbClr val="000099"/>
              </a:solidFill>
            </a:endParaRP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1837" b="1" i="1" dirty="0" smtClean="0">
                <a:solidFill>
                  <a:srgbClr val="000099"/>
                </a:solidFill>
                <a:latin typeface="Times New Roman" pitchFamily="18" charset="0"/>
              </a:rPr>
              <a:t>Заместитель</a:t>
            </a: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  <a:t>Министерства финансов</a:t>
            </a:r>
            <a:b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</a:br>
            <a: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  <a:t>Иркутской области </a:t>
            </a: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2245" b="1" i="1" dirty="0" smtClean="0">
                <a:solidFill>
                  <a:srgbClr val="000099"/>
                </a:solidFill>
                <a:latin typeface="Times New Roman" pitchFamily="18" charset="0"/>
              </a:rPr>
              <a:t>М.В. Загария</a:t>
            </a:r>
            <a:endParaRPr lang="ru-RU" sz="2245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  <a:buNone/>
            </a:pPr>
            <a:r>
              <a:rPr lang="ru-RU" sz="1837" i="1" dirty="0" smtClean="0">
                <a:solidFill>
                  <a:srgbClr val="000000"/>
                </a:solidFill>
              </a:rPr>
              <a:t>2018 год</a:t>
            </a:r>
            <a:endParaRPr lang="ru-RU" sz="1837" i="1" dirty="0">
              <a:solidFill>
                <a:srgbClr val="000000"/>
              </a:solidFill>
            </a:endParaRP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54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506013" y="253405"/>
            <a:ext cx="457772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ПРОЕКТ БЮДЖЕТНОГО КОДЕКСА </a:t>
            </a:r>
          </a:p>
          <a:p>
            <a:pPr algn="ctr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РОССИЙСКОЙ ФЕДЕРАЦИИ</a:t>
            </a:r>
            <a:endParaRPr lang="ru-RU" sz="200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99349" y="1029654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2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9349" y="1290744"/>
            <a:ext cx="8518849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Заключение соглашений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социально-экономическому развитию и оздоровлению муниципальных финансов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между финансовым органом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субъекта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РФ с мэрами, главами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местных администраций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муниципальных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образований, получающих дотации на выравнивание бюджетной обеспеченности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из 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бюджета субъекта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РФ</a:t>
            </a:r>
          </a:p>
          <a:p>
            <a:pPr algn="just"/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Исключено понятие субсидии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местным бюджетам </a:t>
            </a:r>
            <a:r>
              <a:rPr lang="ru-RU" b="1" dirty="0">
                <a:solidFill>
                  <a:srgbClr val="FF0000"/>
                </a:solidFill>
              </a:rPr>
              <a:t>на выравнивание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обеспеченности муниципальных образований по реализации ими их отдельных расходных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обязательств</a:t>
            </a:r>
          </a:p>
          <a:p>
            <a:pPr algn="just"/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При распределении субсидий между бюджетами двух и более муниципальных образований </a:t>
            </a:r>
            <a:r>
              <a:rPr lang="ru-RU" b="1" dirty="0">
                <a:solidFill>
                  <a:srgbClr val="FF0000"/>
                </a:solidFill>
              </a:rPr>
              <a:t>учет уровня расчетной бюджетной обеспеченности 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муниципальных образований в методике распределения субсидий между муниципальными образованиями является </a:t>
            </a:r>
            <a:r>
              <a:rPr lang="ru-RU" b="1" dirty="0">
                <a:solidFill>
                  <a:srgbClr val="FF0000"/>
                </a:solidFill>
              </a:rPr>
              <a:t>обязательным</a:t>
            </a: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ru-RU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9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010526" y="3991282"/>
            <a:ext cx="1903201" cy="2826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33096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33096">
                <a:defRPr/>
              </a:pPr>
              <a:t>3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10526" y="3989662"/>
            <a:ext cx="1904820" cy="18789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176403" y="2330784"/>
            <a:ext cx="669272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49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005479" y="2330783"/>
            <a:ext cx="826940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49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139533" y="1737533"/>
            <a:ext cx="667637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49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97357" y="1973053"/>
            <a:ext cx="1615934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413290" y="1973055"/>
            <a:ext cx="0" cy="357728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523598" y="1973053"/>
            <a:ext cx="1615934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527283" y="1973055"/>
            <a:ext cx="0" cy="357728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2882" y="2834259"/>
            <a:ext cx="3742103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41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111298" y="2836148"/>
            <a:ext cx="3742103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41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7212" y="3181358"/>
            <a:ext cx="4582259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41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7213" y="3537691"/>
            <a:ext cx="3934968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rgbClr val="FF0000"/>
                </a:solidFill>
              </a:rPr>
              <a:t>Субсидии на выравнивани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69336" y="328050"/>
            <a:ext cx="7955191" cy="469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8 </a:t>
            </a:r>
            <a:r>
              <a:rPr lang="ru-RU" sz="2449" b="1" dirty="0" smtClean="0">
                <a:solidFill>
                  <a:schemeClr val="accent6">
                    <a:lumMod val="50000"/>
                  </a:schemeClr>
                </a:solidFill>
              </a:rPr>
              <a:t>ГОДУ</a:t>
            </a:r>
            <a:endParaRPr lang="ru-RU" sz="2449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4468" y="3884790"/>
            <a:ext cx="3934968" cy="7350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rgbClr val="FF0000"/>
                </a:solidFill>
              </a:rPr>
              <a:t>Субсидии на выравнивание</a:t>
            </a:r>
          </a:p>
          <a:p>
            <a:r>
              <a:rPr lang="ru-RU" sz="2041" b="1" dirty="0">
                <a:solidFill>
                  <a:srgbClr val="FF0000"/>
                </a:solidFill>
              </a:rPr>
              <a:t>поселений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075355" y="4441244"/>
            <a:ext cx="3343154" cy="20093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418509" y="3385477"/>
            <a:ext cx="0" cy="1047461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51724" y="936349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77213" y="3761246"/>
            <a:ext cx="4062319" cy="0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/>
        </p:nvSpPr>
        <p:spPr>
          <a:xfrm>
            <a:off x="-133063" y="5062866"/>
            <a:ext cx="86074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ВЫШЕУКАЗАННЫЕ МБТ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РЕДОСТАВЛЯЮТСЯ НА РАСШИРЕНИЕ ВОЗМОЖНОСТЕЙ ОМСУ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РЕШЕНИЮ ВОПРОСОВ МЕСТНОГО ЗНАЧЕНИЯ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(В СООТВЕТСТВИИ С НОРМАМИ ЗАКОНА 131-ФЗ)</a:t>
            </a:r>
            <a:endParaRPr lang="ru-RU" dirty="0"/>
          </a:p>
        </p:txBody>
      </p:sp>
      <p:sp>
        <p:nvSpPr>
          <p:cNvPr id="22" name="Номер слайда 4"/>
          <p:cNvSpPr txBox="1">
            <a:spLocks/>
          </p:cNvSpPr>
          <p:nvPr/>
        </p:nvSpPr>
        <p:spPr bwMode="auto">
          <a:xfrm>
            <a:off x="7010727" y="6661419"/>
            <a:ext cx="1904010" cy="18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  <a:lvl2pPr marL="453951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09511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65057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19023" indent="317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77734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33284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188823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44370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3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41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8235102"/>
              </p:ext>
            </p:extLst>
          </p:nvPr>
        </p:nvGraphicFramePr>
        <p:xfrm>
          <a:off x="173787" y="1222311"/>
          <a:ext cx="8786640" cy="31598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66" name="Лист" r:id="rId7" imgW="7972433" imgH="2867130" progId="Excel.Sheet.12">
                  <p:embed/>
                </p:oleObj>
              </mc:Choice>
              <mc:Fallback>
                <p:oleObj name="Лист" r:id="rId7" imgW="7972433" imgH="286713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3787" y="1222311"/>
                        <a:ext cx="8786640" cy="31598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99" y="0"/>
          <a:ext cx="159366" cy="159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6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9" y="0"/>
                        <a:ext cx="159366" cy="1590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59366" cy="159070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912660">
              <a:defRPr/>
            </a:pPr>
            <a:endParaRPr lang="ru-RU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74885"/>
            <a:ext cx="9013371" cy="307777"/>
          </a:xfrm>
        </p:spPr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 МЕЖБЮДЖЕТНЫХ ТРАНСФЕРТОВ НА 2018 ГОД</a:t>
            </a: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55495" y="6660391"/>
            <a:ext cx="1904932" cy="184666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200" smtClean="0"/>
              <a:pPr>
                <a:defRPr/>
              </a:pPr>
              <a:t>4</a:t>
            </a:fld>
            <a:endParaRPr lang="en-US" sz="1200" dirty="0"/>
          </a:p>
        </p:txBody>
      </p:sp>
      <p:sp>
        <p:nvSpPr>
          <p:cNvPr id="27" name="Овал 36"/>
          <p:cNvSpPr>
            <a:spLocks noChangeArrowheads="1"/>
          </p:cNvSpPr>
          <p:nvPr/>
        </p:nvSpPr>
        <p:spPr bwMode="auto">
          <a:xfrm>
            <a:off x="5093241" y="1978090"/>
            <a:ext cx="842206" cy="341768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600">
              <a:latin typeface="+mn-lt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7675562" y="917511"/>
            <a:ext cx="14684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00" tIns="45557" rIns="91100" bIns="4555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dirty="0">
                <a:latin typeface="Arial" charset="0"/>
              </a:rPr>
              <a:t>МЛН. РУБЛЕЙ</a:t>
            </a:r>
          </a:p>
        </p:txBody>
      </p:sp>
      <p:sp>
        <p:nvSpPr>
          <p:cNvPr id="17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44933" y="693997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  <p:sp>
        <p:nvSpPr>
          <p:cNvPr id="15" name="Овал 36"/>
          <p:cNvSpPr>
            <a:spLocks noChangeArrowheads="1"/>
          </p:cNvSpPr>
          <p:nvPr/>
        </p:nvSpPr>
        <p:spPr bwMode="auto">
          <a:xfrm>
            <a:off x="6113388" y="1978090"/>
            <a:ext cx="842206" cy="341768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600">
              <a:latin typeface="+mn-lt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254028" y="5853221"/>
            <a:ext cx="844266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/>
        </p:nvSpPr>
        <p:spPr>
          <a:xfrm>
            <a:off x="254028" y="5902427"/>
            <a:ext cx="8889972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140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* Дополнительно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распределено муниципальным районам, городским округам Иркутской области </a:t>
            </a:r>
          </a:p>
          <a:p>
            <a:pPr eaLnBrk="1" hangingPunct="1">
              <a:spcBef>
                <a:spcPct val="50000"/>
              </a:spcBef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847,5 млн. рублей с учетом резерва по дотации на сбалансированность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733527" y="2442225"/>
            <a:ext cx="2744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*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843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6640939" y="2820748"/>
            <a:ext cx="2295015" cy="150313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0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0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0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39700" cy="150813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eaLnBrk="1" hangingPunct="1"/>
            <a:endParaRPr lang="ru-RU" sz="11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94860"/>
            <a:ext cx="9144000" cy="607859"/>
          </a:xfrm>
        </p:spPr>
        <p:txBody>
          <a:bodyPr/>
          <a:lstStyle/>
          <a:p>
            <a:pPr algn="ctr" defTabSz="908050" eaLnBrk="1" hangingPunct="1"/>
            <a: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</a:t>
            </a:r>
            <a:r>
              <a:rPr lang="ru-RU" sz="195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СПРЕДЕЛЕНИИ </a:t>
            </a:r>
            <a:b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95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«ЗА ЭФФЕКТИВНОСТЬ» </a:t>
            </a: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8787" y="925927"/>
            <a:ext cx="8680725" cy="162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2308" y="1376281"/>
            <a:ext cx="3885859" cy="4094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 smtClean="0">
                <a:solidFill>
                  <a:srgbClr val="FF0000"/>
                </a:solidFill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>
              <a:lnSpc>
                <a:spcPct val="60000"/>
              </a:lnSpc>
            </a:pPr>
            <a:endParaRPr lang="ru-RU" b="1" kern="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рирост</a:t>
            </a:r>
            <a:r>
              <a:rPr lang="ru-RU" dirty="0" smtClean="0"/>
              <a:t> </a:t>
            </a:r>
            <a:r>
              <a:rPr lang="ru-RU" b="1" kern="0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оступлений налоговых и неналоговых доходов в бюджеты </a:t>
            </a: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МО;</a:t>
            </a:r>
          </a:p>
          <a:p>
            <a:pPr marL="285750" indent="-285750" algn="just">
              <a:lnSpc>
                <a:spcPct val="85000"/>
              </a:lnSpc>
              <a:buFontTx/>
              <a:buChar char="-"/>
            </a:pPr>
            <a:endParaRPr lang="ru-RU" b="1" kern="0" dirty="0" smtClean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5750" indent="-285750" algn="just">
              <a:buFontTx/>
              <a:buChar char="-"/>
            </a:pPr>
            <a:endParaRPr lang="ru-RU" b="1" kern="0" dirty="0" smtClean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качественное </a:t>
            </a: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управление </a:t>
            </a:r>
            <a:r>
              <a:rPr lang="ru-RU" b="1" kern="0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бюджетным </a:t>
            </a: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роцессом (приказ МФ ИО от 15.06.2016 №56н-мпр).</a:t>
            </a:r>
            <a:endParaRPr lang="ru-RU" b="1" kern="0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54028" y="5853221"/>
            <a:ext cx="844266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6653892" y="3130242"/>
            <a:ext cx="2282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2400" b="1" dirty="0">
                <a:solidFill>
                  <a:srgbClr val="FF0000"/>
                </a:solidFill>
                <a:latin typeface="Arial" charset="0"/>
              </a:rPr>
              <a:t>500 </a:t>
            </a:r>
            <a:endParaRPr lang="ru-RU" sz="2400" b="1" dirty="0" smtClean="0">
              <a:solidFill>
                <a:srgbClr val="FF0000"/>
              </a:solidFill>
              <a:latin typeface="Arial" charset="0"/>
            </a:endParaRPr>
          </a:p>
          <a:p>
            <a:pPr algn="ctr" defTabSz="912813"/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млн</a:t>
            </a:r>
            <a:r>
              <a:rPr lang="ru-RU" sz="2000" b="1" dirty="0">
                <a:solidFill>
                  <a:srgbClr val="FF0000"/>
                </a:solidFill>
                <a:latin typeface="Arial" charset="0"/>
              </a:rPr>
              <a:t>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334731" y="1838423"/>
            <a:ext cx="200132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</a:rPr>
              <a:t>30% </a:t>
            </a:r>
            <a:r>
              <a:rPr lang="ru-RU" sz="1300" dirty="0">
                <a:solidFill>
                  <a:schemeClr val="accent6">
                    <a:lumMod val="50000"/>
                  </a:schemeClr>
                </a:solidFill>
              </a:rPr>
              <a:t>от прироста </a:t>
            </a:r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</a:rPr>
              <a:t>налоговых </a:t>
            </a:r>
            <a:r>
              <a:rPr lang="ru-RU" sz="1300" dirty="0">
                <a:solidFill>
                  <a:schemeClr val="accent6">
                    <a:lumMod val="50000"/>
                  </a:schemeClr>
                </a:solidFill>
              </a:rPr>
              <a:t>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28868" y="3030387"/>
            <a:ext cx="15842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от 0,15 млн. руб. до 8,5 млн. руб.* </a:t>
            </a:r>
            <a:endParaRPr lang="ru-RU" sz="13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4028" y="6056107"/>
            <a:ext cx="816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813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* фиксированный размер субсидии зависит от численности населения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373715" y="3532788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373714" y="2511689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373716" y="4679511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52440" y="4215783"/>
            <a:ext cx="15842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от 0,15 млн. руб. до 8,5 млн. руб.* </a:t>
            </a:r>
            <a:endParaRPr lang="ru-RU" sz="13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10400" y="6661150"/>
            <a:ext cx="1905000" cy="1884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  <a:cs typeface="Arial" charset="0"/>
              </a:rPr>
              <a:t>5</a:t>
            </a:r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53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05964742519000050000E+000&quot;&gt;&lt;m_ppcolschidx val=&quot;0&quot;/&gt;&lt;m_rgb r=&quot;ef&quot; g=&quot;bf&quot; b=&quot;ba&quot;/&gt;&lt;/elem&gt;&lt;elem m_fUsage=&quot;2.73095721000000060000E+000&quot;&gt;&lt;m_ppcolschidx val=&quot;0&quot;/&gt;&lt;m_rgb r=&quot;b6&quot; g=&quot;fc&quot; b=&quot;a9&quot;/&gt;&lt;/elem&gt;&lt;elem m_fUsage=&quot;1.38510000000000000000E+000&quot;&gt;&lt;m_ppcolschidx val=&quot;0&quot;/&gt;&lt;m_rgb r=&quot;e8&quot; g=&quot;a0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35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18_Universal Template_RU">
  <a:themeElements>
    <a:clrScheme name="3_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3_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3_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03</TotalTime>
  <Words>262</Words>
  <Application>Microsoft Office PowerPoint</Application>
  <PresentationFormat>Экран (4:3)</PresentationFormat>
  <Paragraphs>66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12" baseType="lpstr">
      <vt:lpstr>Arial</vt:lpstr>
      <vt:lpstr>Calibri</vt:lpstr>
      <vt:lpstr>Times New Roman</vt:lpstr>
      <vt:lpstr>18_Universal Template_RU</vt:lpstr>
      <vt:lpstr>Специальное оформление</vt:lpstr>
      <vt:lpstr>think-cell Slide</vt:lpstr>
      <vt:lpstr>Лист</vt:lpstr>
      <vt:lpstr>Презентация PowerPoint</vt:lpstr>
      <vt:lpstr>Презентация PowerPoint</vt:lpstr>
      <vt:lpstr>Презентация PowerPoint</vt:lpstr>
      <vt:lpstr>ОБЪЕМ МЕЖБЮДЖЕТНЫХ ТРАНСФЕРТОВ НА 2018 ГОД</vt:lpstr>
      <vt:lpstr>ПОДХОДЫ ПРИ РАСПРЕДЕЛЕНИИ  СУБСИДИИ «ЗА ЭФФЕКТИВНОСТЬ» В 2018 ГОД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ПОСТУПЛЕНИЙ ДОХОДОВ В КОНСОЛИДИРОВАННЫЙ БЮДЖЕТ  ЗА 6 МЕСЯЦЕВ 2008-2009 ГГ.  (НЕЦЕЛЕВЫЕ ДОХОДЫ)</dc:title>
  <dc:creator>Шведов Е.В.</dc:creator>
  <cp:lastModifiedBy>Байбурова И.Н.</cp:lastModifiedBy>
  <cp:revision>2698</cp:revision>
  <cp:lastPrinted>2018-03-22T02:42:12Z</cp:lastPrinted>
  <dcterms:created xsi:type="dcterms:W3CDTF">2009-08-17T06:59:56Z</dcterms:created>
  <dcterms:modified xsi:type="dcterms:W3CDTF">2018-03-22T02:42:33Z</dcterms:modified>
</cp:coreProperties>
</file>